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2"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47" autoAdjust="0"/>
    <p:restoredTop sz="94660"/>
  </p:normalViewPr>
  <p:slideViewPr>
    <p:cSldViewPr snapToGrid="0" showGuides="1">
      <p:cViewPr varScale="1">
        <p:scale>
          <a:sx n="82" d="100"/>
          <a:sy n="82" d="100"/>
        </p:scale>
        <p:origin x="811" y="72"/>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20-05-2026</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nr.›</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0/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0/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txBody>
            <a:bodyPr/>
            <a:lstStyle/>
            <a:p>
              <a:endParaRPr lang="en-DK"/>
            </a:p>
          </p:txBody>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txBody>
            <a:bodyPr/>
            <a:lstStyle/>
            <a:p>
              <a:endParaRPr lang="en-DK"/>
            </a:p>
          </p:txBody>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txBody>
            <a:bodyPr/>
            <a:lstStyle/>
            <a:p>
              <a:endParaRPr lang="en-DK"/>
            </a:p>
          </p:txBody>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txBody>
            <a:bodyPr/>
            <a:lstStyle/>
            <a:p>
              <a:endParaRPr lang="en-DK"/>
            </a:p>
          </p:txBody>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txBody>
            <a:bodyPr/>
            <a:lstStyle/>
            <a:p>
              <a:endParaRPr lang="en-DK"/>
            </a:p>
          </p:txBody>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txBody>
            <a:bodyPr/>
            <a:lstStyle/>
            <a:p>
              <a:endParaRPr lang="en-DK"/>
            </a:p>
          </p:txBody>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txBody>
            <a:bodyPr/>
            <a:lstStyle/>
            <a:p>
              <a:endParaRPr lang="en-DK"/>
            </a:p>
          </p:txBody>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txBody>
            <a:bodyPr/>
            <a:lstStyle/>
            <a:p>
              <a:endParaRPr lang="en-DK"/>
            </a:p>
          </p:txBody>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txBody>
            <a:bodyPr/>
            <a:lstStyle/>
            <a:p>
              <a:endParaRPr lang="en-DK"/>
            </a:p>
          </p:txBody>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txBody>
            <a:bodyPr/>
            <a:lstStyle/>
            <a:p>
              <a:endParaRPr lang="en-DK"/>
            </a:p>
          </p:txBody>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txBody>
            <a:bodyPr/>
            <a:lstStyle/>
            <a:p>
              <a:endParaRPr lang="en-DK"/>
            </a:p>
          </p:txBody>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txBody>
            <a:bodyPr/>
            <a:lstStyle/>
            <a:p>
              <a:endParaRPr lang="en-DK"/>
            </a:p>
          </p:txBody>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txBody>
            <a:bodyPr/>
            <a:lstStyle/>
            <a:p>
              <a:endParaRPr lang="en-DK"/>
            </a:p>
          </p:txBody>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txBody>
            <a:bodyPr/>
            <a:lstStyle/>
            <a:p>
              <a:endParaRPr lang="en-DK"/>
            </a:p>
          </p:txBody>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txBody>
            <a:bodyPr/>
            <a:lstStyle/>
            <a:p>
              <a:endParaRPr lang="en-DK"/>
            </a:p>
          </p:txBody>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txBody>
            <a:bodyPr/>
            <a:lstStyle/>
            <a:p>
              <a:endParaRPr lang="en-DK"/>
            </a:p>
          </p:txBody>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txBody>
            <a:bodyPr/>
            <a:lstStyle/>
            <a:p>
              <a:endParaRPr lang="en-DK"/>
            </a:p>
          </p:txBody>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txBody>
            <a:bodyPr/>
            <a:lstStyle/>
            <a:p>
              <a:endParaRPr lang="en-DK"/>
            </a:p>
          </p:txBody>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txBody>
            <a:bodyPr/>
            <a:lstStyle/>
            <a:p>
              <a:endParaRPr lang="en-DK"/>
            </a:p>
          </p:txBody>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txBody>
            <a:bodyPr/>
            <a:lstStyle/>
            <a:p>
              <a:endParaRPr lang="en-DK"/>
            </a:p>
          </p:txBody>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txBody>
            <a:bodyPr/>
            <a:lstStyle/>
            <a:p>
              <a:endParaRPr lang="en-DK"/>
            </a:p>
          </p:txBody>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txBody>
            <a:bodyPr/>
            <a:lstStyle/>
            <a:p>
              <a:endParaRPr lang="en-DK"/>
            </a:p>
          </p:txBody>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txBody>
            <a:bodyPr/>
            <a:lstStyle/>
            <a:p>
              <a:endParaRPr lang="en-DK"/>
            </a:p>
          </p:txBody>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txBody>
            <a:bodyPr/>
            <a:lstStyle/>
            <a:p>
              <a:endParaRPr lang="en-DK"/>
            </a:p>
          </p:txBody>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20/2026</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Ærefrygt – Frygt ikke, frygt Gud</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a:xfrm>
            <a:off x="2275704" y="2121562"/>
            <a:ext cx="4791299" cy="2795804"/>
          </a:xfrm>
        </p:spPr>
        <p:txBody>
          <a:bodyPr>
            <a:normAutofit fontScale="92500" lnSpcReduction="10000"/>
          </a:bodyPr>
          <a:lstStyle/>
          <a:p>
            <a:r>
              <a:rPr lang="en-DK" dirty="0"/>
              <a:t>5. </a:t>
            </a:r>
            <a:r>
              <a:rPr lang="en-GB" dirty="0"/>
              <a:t>M</a:t>
            </a:r>
            <a:r>
              <a:rPr lang="en-DK" dirty="0"/>
              <a:t>osebog er en række taler og vejledning til Israels folk ved afslutningen på næsten 40 års vandring i ørkenen på vej mod det land, Gud havde lovet dem. Moses giver israelitterne instrukser fra Gud om, hvordan de skal leve deres liv som Guds udvalgte folk. </a:t>
            </a:r>
            <a:r>
              <a:rPr lang="da-DK" dirty="0"/>
              <a:t>Fem måder at leve/udtrykke/vise ærefrygt for Gud på er ved at:     </a:t>
            </a:r>
            <a:r>
              <a:rPr lang="en-DK" dirty="0"/>
              <a:t>1) </a:t>
            </a:r>
            <a:r>
              <a:rPr lang="da-DK" dirty="0"/>
              <a:t>Adlyde Gud og følge Hans bud 2) Elske Gud 3) Elske sin næste, vise omsorg for den fremmede  4) Lade Gud være Herre</a:t>
            </a:r>
            <a:r>
              <a:rPr lang="en-DK" dirty="0"/>
              <a:t> 5) </a:t>
            </a:r>
            <a:r>
              <a:rPr lang="da-DK" dirty="0"/>
              <a:t>Tilbede og lovsynge Gud.  </a:t>
            </a:r>
          </a:p>
          <a:p>
            <a:r>
              <a:rPr lang="da-DK" dirty="0"/>
              <a:t>Vi er kaldet til at elske mennesker i stedet for at frygte dem. Menneskefrygten bliver mindre når ærefrygten for Gud blive større. Vores stædighed og stolthed kan forhindre os i at leve i ærefrygt for Gud. Vi må derfor lade Gud omskære vores hjertes forhud (jf. vers 16 + 5. mosebog 30:6). Det handler om en indre forvandling. At leve i ærefrygt for Gud er at elske det Gud elsker og hade det Gud hader. Ærefrygt for Gud gør op med tendensen til at tage let på synd. Husk på hvad Moses siger til Israels folk i vers 13; dét Gud kalder os til at gøre i vores lydighed mod ham er til gavn for os.</a:t>
            </a:r>
            <a:endParaRPr lang="en-DK"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a:xfrm>
            <a:off x="2275703" y="966681"/>
            <a:ext cx="4791301" cy="507298"/>
          </a:xfrm>
        </p:spPr>
        <p:txBody>
          <a:bodyPr/>
          <a:lstStyle/>
          <a:p>
            <a:r>
              <a:rPr lang="da-DK" sz="1400" dirty="0"/>
              <a:t>5. Mosebog 10:12-22 </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a:xfrm>
            <a:off x="2275702" y="5203219"/>
            <a:ext cx="4791301" cy="1187612"/>
          </a:xfrm>
        </p:spPr>
        <p:txBody>
          <a:bodyPr/>
          <a:lstStyle/>
          <a:p>
            <a:r>
              <a:rPr lang="da-DK" sz="1050" dirty="0"/>
              <a:t>Voks i ærefrygt for Gud ved at lære Ham at kende mere og mere</a:t>
            </a:r>
            <a:r>
              <a:rPr lang="da-DK" sz="600" dirty="0"/>
              <a:t>.</a:t>
            </a:r>
            <a:r>
              <a:rPr lang="da-DK" sz="1050" dirty="0"/>
              <a:t> </a:t>
            </a:r>
          </a:p>
          <a:p>
            <a:r>
              <a:rPr lang="da-DK" sz="1050" dirty="0"/>
              <a:t>Lev i ærefrygt for Gud ved at elske det Gud elsker og hade det Gud hader. </a:t>
            </a:r>
          </a:p>
          <a:p>
            <a:r>
              <a:rPr lang="en-DK" sz="1050" dirty="0"/>
              <a:t>Hvil i at Guds befalinger og veje er givet til gavn for dig. </a:t>
            </a:r>
            <a:endParaRPr lang="da-DK" sz="1050"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a:xfrm>
            <a:off x="7236825" y="2122990"/>
            <a:ext cx="4768651" cy="1864809"/>
          </a:xfrm>
        </p:spPr>
        <p:txBody>
          <a:bodyPr/>
          <a:lstStyle/>
          <a:p>
            <a:r>
              <a:rPr lang="da-DK" dirty="0"/>
              <a:t>Hvordan oplever du ærefrygt for Gud i dit liv? </a:t>
            </a:r>
          </a:p>
          <a:p>
            <a:r>
              <a:rPr lang="da-DK" dirty="0"/>
              <a:t>Hvilket Gudsbillede har du? Er Han mere end din kærlige far og ven?</a:t>
            </a:r>
          </a:p>
          <a:p>
            <a:r>
              <a:rPr lang="da-DK" dirty="0"/>
              <a:t>Hvornår oplever du at menneskefrygten bliver større?</a:t>
            </a:r>
          </a:p>
          <a:p>
            <a:r>
              <a:rPr lang="da-DK" dirty="0"/>
              <a:t>Hvordan kan vi lære at elske det Gud elsker og hade det Gud hader? </a:t>
            </a:r>
          </a:p>
          <a:p>
            <a:endParaRPr lang="da-DK" dirty="0"/>
          </a:p>
          <a:p>
            <a:endParaRPr lang="da-DK"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endParaRPr lang="da-DK" dirty="0"/>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a:bodyPr>
          <a:lstStyle/>
          <a:p>
            <a:r>
              <a:rPr lang="da-DK" dirty="0"/>
              <a:t>Stop op i 10 minutter i løbet af dagen og tænk på Guds storhed og de undere Han har gjort.</a:t>
            </a:r>
          </a:p>
        </p:txBody>
      </p:sp>
    </p:spTree>
    <p:extLst>
      <p:ext uri="{BB962C8B-B14F-4D97-AF65-F5344CB8AC3E}">
        <p14:creationId xmlns:p14="http://schemas.microsoft.com/office/powerpoint/2010/main" val="471275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62A6E336102A409DCE6EAAEEBBB5B4" ma:contentTypeVersion="12" ma:contentTypeDescription="Create a new document." ma:contentTypeScope="" ma:versionID="cc2de7ca1619c8be3262bce65819789b">
  <xsd:schema xmlns:xsd="http://www.w3.org/2001/XMLSchema" xmlns:xs="http://www.w3.org/2001/XMLSchema" xmlns:p="http://schemas.microsoft.com/office/2006/metadata/properties" xmlns:ns2="44168d15-525b-443e-9103-846403f98ac9" xmlns:ns3="c7ce7b44-c394-42d1-a5e7-f247d1b5b78c" targetNamespace="http://schemas.microsoft.com/office/2006/metadata/properties" ma:root="true" ma:fieldsID="eb3e64a27cc5e990567291ea33b205b2" ns2:_="" ns3:_="">
    <xsd:import namespace="44168d15-525b-443e-9103-846403f98ac9"/>
    <xsd:import namespace="c7ce7b44-c394-42d1-a5e7-f247d1b5b78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168d15-525b-443e-9103-846403f98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9731afd-e726-4161-a857-61de5a62a7a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ce7b44-c394-42d1-a5e7-f247d1b5b78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7bff322-4040-4798-a219-743850e60bf2}" ma:internalName="TaxCatchAll" ma:showField="CatchAllData" ma:web="c7ce7b44-c394-42d1-a5e7-f247d1b5b78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7ce7b44-c394-42d1-a5e7-f247d1b5b78c" xsi:nil="true"/>
    <lcf76f155ced4ddcb4097134ff3c332f xmlns="44168d15-525b-443e-9103-846403f98ac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6001CD-ABF6-484C-93A6-46DF5CBD78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168d15-525b-443e-9103-846403f98ac9"/>
    <ds:schemaRef ds:uri="c7ce7b44-c394-42d1-a5e7-f247d1b5b7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 ds:uri="c7ce7b44-c394-42d1-a5e7-f247d1b5b78c"/>
    <ds:schemaRef ds:uri="44168d15-525b-443e-9103-846403f98ac9"/>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88</TotalTime>
  <Words>359</Words>
  <Application>Microsoft Office PowerPoint</Application>
  <PresentationFormat>Widescreen</PresentationFormat>
  <Paragraphs>13</Paragraphs>
  <Slides>1</Slides>
  <Notes>1</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7" baseType="lpstr">
      <vt:lpstr>Calibri</vt:lpstr>
      <vt:lpstr>Century Gothic</vt:lpstr>
      <vt:lpstr>Verdana</vt:lpstr>
      <vt:lpstr>Wingdings 3</vt:lpstr>
      <vt:lpstr>Wisp</vt:lpstr>
      <vt:lpstr>think-cell Slide</vt:lpstr>
      <vt:lpstr>Ærefrygt – Frygt ikke, frygt G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Anne-Mette Lerche</cp:lastModifiedBy>
  <cp:revision>89</cp:revision>
  <dcterms:created xsi:type="dcterms:W3CDTF">2019-08-19T18:08:22Z</dcterms:created>
  <dcterms:modified xsi:type="dcterms:W3CDTF">2026-05-20T08:1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62A6E336102A409DCE6EAAEEBBB5B4</vt:lpwstr>
  </property>
</Properties>
</file>